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1F2F4-CADB-FA35-15F8-A956C45DD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2F997E19-0762-2D6F-360C-5AEA88312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997E19-0762-2D6F-360C-5AEA88312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EA7A0B-C29A-7C88-1254-811F2D127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4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F02A76-9D53-AD75-711D-B476E72F3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1AA097D-DC99-B2FC-2AAB-0973EFBECCDC}"/>
              </a:ext>
            </a:extLst>
          </p:cNvPr>
          <p:cNvSpPr/>
          <p:nvPr/>
        </p:nvSpPr>
        <p:spPr>
          <a:xfrm rot="5400000">
            <a:off x="876655" y="2203510"/>
            <a:ext cx="1067956" cy="106800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FA95633-9124-AE76-FD44-95A382CEC873}"/>
              </a:ext>
            </a:extLst>
          </p:cNvPr>
          <p:cNvSpPr/>
          <p:nvPr/>
        </p:nvSpPr>
        <p:spPr>
          <a:xfrm rot="5400000">
            <a:off x="3618881" y="2203509"/>
            <a:ext cx="1067956" cy="10680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0F797B3-7148-CC8C-EA1A-8DB9D1F8B390}"/>
              </a:ext>
            </a:extLst>
          </p:cNvPr>
          <p:cNvSpPr/>
          <p:nvPr/>
        </p:nvSpPr>
        <p:spPr>
          <a:xfrm rot="5400000">
            <a:off x="3618881" y="3815754"/>
            <a:ext cx="1067956" cy="10680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56B16-6574-1698-38DB-EA07D22F4630}"/>
              </a:ext>
            </a:extLst>
          </p:cNvPr>
          <p:cNvSpPr/>
          <p:nvPr/>
        </p:nvSpPr>
        <p:spPr>
          <a:xfrm rot="5400000">
            <a:off x="876655" y="3815754"/>
            <a:ext cx="1067956" cy="1068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812B2B1-8C5C-6212-4981-9A58368009E0}"/>
              </a:ext>
            </a:extLst>
          </p:cNvPr>
          <p:cNvGrpSpPr/>
          <p:nvPr/>
        </p:nvGrpSpPr>
        <p:grpSpPr>
          <a:xfrm>
            <a:off x="1094397" y="4136503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2D73541C-7BAB-727C-17F5-70A7CC776BF0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448E8872-37E6-3CED-8BB1-8915C4C21974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4F0DE175-4D6D-E9E1-0615-50DDDE33CE9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" name="Freeform 23">
            <a:extLst>
              <a:ext uri="{FF2B5EF4-FFF2-40B4-BE49-F238E27FC236}">
                <a16:creationId xmlns:a16="http://schemas.microsoft.com/office/drawing/2014/main" id="{B3627B82-CDAA-1DFE-2888-BBA5B46C5485}"/>
              </a:ext>
            </a:extLst>
          </p:cNvPr>
          <p:cNvSpPr>
            <a:spLocks noEditPoints="1"/>
          </p:cNvSpPr>
          <p:nvPr/>
        </p:nvSpPr>
        <p:spPr bwMode="auto">
          <a:xfrm>
            <a:off x="3872703" y="4101652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907A03-8DAC-837C-4B97-9265B7BC7F38}"/>
              </a:ext>
            </a:extLst>
          </p:cNvPr>
          <p:cNvGrpSpPr>
            <a:grpSpLocks noChangeAspect="1"/>
          </p:cNvGrpSpPr>
          <p:nvPr/>
        </p:nvGrpSpPr>
        <p:grpSpPr>
          <a:xfrm>
            <a:off x="3936317" y="2531394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A3BA87B8-DECA-049E-05FF-A7BC34F168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996FCED6-8520-21E0-0845-82F33E4A14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CAC0F593-5C78-2B34-27E3-B6B1E39C2E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5B3BE636-87C4-058C-EC8D-91CD90709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9288168B-E2D5-1C29-5FF1-633814C2C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7CD5E6DE-6EE2-2C1A-527A-65D05010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5" name="Freeform 23">
            <a:extLst>
              <a:ext uri="{FF2B5EF4-FFF2-40B4-BE49-F238E27FC236}">
                <a16:creationId xmlns:a16="http://schemas.microsoft.com/office/drawing/2014/main" id="{CCA30FED-CC59-6404-28A2-AAE1D83BCAC0}"/>
              </a:ext>
            </a:extLst>
          </p:cNvPr>
          <p:cNvSpPr>
            <a:spLocks noEditPoints="1"/>
          </p:cNvSpPr>
          <p:nvPr/>
        </p:nvSpPr>
        <p:spPr bwMode="auto">
          <a:xfrm>
            <a:off x="1130477" y="2489408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sp>
        <p:nvSpPr>
          <p:cNvPr id="26" name="Folded Corner 67">
            <a:extLst>
              <a:ext uri="{FF2B5EF4-FFF2-40B4-BE49-F238E27FC236}">
                <a16:creationId xmlns:a16="http://schemas.microsoft.com/office/drawing/2014/main" id="{B10D6759-299B-CAB2-F252-04DA0A545A4A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27" name="Round Same Side Corner Rectangle 69">
            <a:extLst>
              <a:ext uri="{FF2B5EF4-FFF2-40B4-BE49-F238E27FC236}">
                <a16:creationId xmlns:a16="http://schemas.microsoft.com/office/drawing/2014/main" id="{A1624DEA-F11A-BA7B-708E-86151846695F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382FB76B-9091-3689-ECFD-A7E6AC08EA0F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83FFA86-1A33-7239-0261-65C017016886}"/>
              </a:ext>
            </a:extLst>
          </p:cNvPr>
          <p:cNvCxnSpPr>
            <a:cxnSpLocks/>
            <a:stCxn id="5" idx="0"/>
            <a:endCxn id="6" idx="4"/>
          </p:cNvCxnSpPr>
          <p:nvPr/>
        </p:nvCxnSpPr>
        <p:spPr>
          <a:xfrm flipV="1">
            <a:off x="1944636" y="2737512"/>
            <a:ext cx="1674221" cy="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270937-7EE6-71BE-691D-7E659805635A}"/>
              </a:ext>
            </a:extLst>
          </p:cNvPr>
          <p:cNvCxnSpPr>
            <a:cxnSpLocks/>
            <a:stCxn id="6" idx="6"/>
            <a:endCxn id="7" idx="2"/>
          </p:cNvCxnSpPr>
          <p:nvPr/>
        </p:nvCxnSpPr>
        <p:spPr>
          <a:xfrm>
            <a:off x="4152859" y="3271490"/>
            <a:ext cx="0" cy="544289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05A39C9-5A4A-3945-8C85-F6C6A07CCB91}"/>
              </a:ext>
            </a:extLst>
          </p:cNvPr>
          <p:cNvCxnSpPr>
            <a:cxnSpLocks/>
            <a:stCxn id="7" idx="4"/>
            <a:endCxn id="8" idx="0"/>
          </p:cNvCxnSpPr>
          <p:nvPr/>
        </p:nvCxnSpPr>
        <p:spPr>
          <a:xfrm flipH="1">
            <a:off x="1944636" y="4349757"/>
            <a:ext cx="1674221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A38E282-2891-BFA9-7B97-5ED360314A29}"/>
              </a:ext>
            </a:extLst>
          </p:cNvPr>
          <p:cNvCxnSpPr>
            <a:cxnSpLocks/>
            <a:stCxn id="5" idx="6"/>
            <a:endCxn id="8" idx="2"/>
          </p:cNvCxnSpPr>
          <p:nvPr/>
        </p:nvCxnSpPr>
        <p:spPr>
          <a:xfrm>
            <a:off x="1410633" y="3271491"/>
            <a:ext cx="0" cy="5442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7F8F09C-4057-E123-453C-6AFDFE107862}"/>
              </a:ext>
            </a:extLst>
          </p:cNvPr>
          <p:cNvCxnSpPr>
            <a:cxnSpLocks/>
            <a:stCxn id="6" idx="5"/>
            <a:endCxn id="8" idx="1"/>
          </p:cNvCxnSpPr>
          <p:nvPr/>
        </p:nvCxnSpPr>
        <p:spPr>
          <a:xfrm flipH="1">
            <a:off x="1788230" y="3115091"/>
            <a:ext cx="1987033" cy="85708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012233C-9ADF-5F38-9393-EBDD4000EF64}"/>
              </a:ext>
            </a:extLst>
          </p:cNvPr>
          <p:cNvCxnSpPr>
            <a:cxnSpLocks/>
            <a:stCxn id="5" idx="7"/>
            <a:endCxn id="7" idx="3"/>
          </p:cNvCxnSpPr>
          <p:nvPr/>
        </p:nvCxnSpPr>
        <p:spPr>
          <a:xfrm>
            <a:off x="1788230" y="3115092"/>
            <a:ext cx="1987033" cy="857086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FB35150-8BAD-0FBA-2890-A8B95D5F5B94}"/>
              </a:ext>
            </a:extLst>
          </p:cNvPr>
          <p:cNvGrpSpPr/>
          <p:nvPr/>
        </p:nvGrpSpPr>
        <p:grpSpPr>
          <a:xfrm>
            <a:off x="2242119" y="3040508"/>
            <a:ext cx="1066556" cy="1066555"/>
            <a:chOff x="2242119" y="3040508"/>
            <a:chExt cx="1066556" cy="1066555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0E41606-4E5F-6BF4-DF12-3E4BE04543E4}"/>
                </a:ext>
              </a:extLst>
            </p:cNvPr>
            <p:cNvSpPr/>
            <p:nvPr/>
          </p:nvSpPr>
          <p:spPr>
            <a:xfrm rot="5400000">
              <a:off x="2242119" y="3040508"/>
              <a:ext cx="1066555" cy="10665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D1FE308-1ADD-329E-EB68-428898F652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55167" y="3381079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8" name="Freeform 26">
                <a:extLst>
                  <a:ext uri="{FF2B5EF4-FFF2-40B4-BE49-F238E27FC236}">
                    <a16:creationId xmlns:a16="http://schemas.microsoft.com/office/drawing/2014/main" id="{B373F558-8F0A-C658-59CB-8883930DF2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27">
                <a:extLst>
                  <a:ext uri="{FF2B5EF4-FFF2-40B4-BE49-F238E27FC236}">
                    <a16:creationId xmlns:a16="http://schemas.microsoft.com/office/drawing/2014/main" id="{6E97A3D7-2D67-617A-CE72-E06B59DAE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0" name="Freeform 28">
                <a:extLst>
                  <a:ext uri="{FF2B5EF4-FFF2-40B4-BE49-F238E27FC236}">
                    <a16:creationId xmlns:a16="http://schemas.microsoft.com/office/drawing/2014/main" id="{260404A5-98BB-249B-EF68-260B851AEE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1" name="Freeform 29">
                <a:extLst>
                  <a:ext uri="{FF2B5EF4-FFF2-40B4-BE49-F238E27FC236}">
                    <a16:creationId xmlns:a16="http://schemas.microsoft.com/office/drawing/2014/main" id="{B69B1249-5412-5B76-9AF9-A66AF3F3A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2" name="Freeform 30">
                <a:extLst>
                  <a:ext uri="{FF2B5EF4-FFF2-40B4-BE49-F238E27FC236}">
                    <a16:creationId xmlns:a16="http://schemas.microsoft.com/office/drawing/2014/main" id="{026EC5B2-0D0D-8AD5-28BC-A6A865F80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3" name="Freeform 31">
                <a:extLst>
                  <a:ext uri="{FF2B5EF4-FFF2-40B4-BE49-F238E27FC236}">
                    <a16:creationId xmlns:a16="http://schemas.microsoft.com/office/drawing/2014/main" id="{A3938FED-D751-FF54-3CE9-E519CA8A1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8886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4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0</cp:revision>
  <dcterms:created xsi:type="dcterms:W3CDTF">2021-03-31T02:49:57Z</dcterms:created>
  <dcterms:modified xsi:type="dcterms:W3CDTF">2025-10-16T11:00:13Z</dcterms:modified>
  <cp:category/>
</cp:coreProperties>
</file>